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0"/>
  </p:notesMasterIdLst>
  <p:handoutMasterIdLst>
    <p:handoutMasterId r:id="rId11"/>
  </p:handoutMasterIdLst>
  <p:sldIdLst>
    <p:sldId id="256" r:id="rId6"/>
    <p:sldId id="693" r:id="rId7"/>
    <p:sldId id="704" r:id="rId8"/>
    <p:sldId id="697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04"/>
            <p14:sldId id="6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4-Jun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4-Jun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26485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4-Jun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4/06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4-Jun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19545"/>
            <a:ext cx="12125649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String Manipulation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a types</a:t>
            </a:r>
          </a:p>
        </p:txBody>
      </p:sp>
      <p:pic>
        <p:nvPicPr>
          <p:cNvPr id="5" name="image19.png">
            <a:extLst>
              <a:ext uri="{FF2B5EF4-FFF2-40B4-BE49-F238E27FC236}">
                <a16:creationId xmlns:a16="http://schemas.microsoft.com/office/drawing/2014/main" id="{36B1DC08-C3CD-4189-B336-54568FD8E74C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176981" y="1117221"/>
            <a:ext cx="7543800" cy="5254177"/>
          </a:xfrm>
          <a:prstGeom prst="rect">
            <a:avLst/>
          </a:prstGeom>
          <a:ln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E86FB87-A839-412B-91F8-85EDCAB02786}"/>
              </a:ext>
            </a:extLst>
          </p:cNvPr>
          <p:cNvSpPr txBox="1"/>
          <p:nvPr/>
        </p:nvSpPr>
        <p:spPr>
          <a:xfrm>
            <a:off x="8135006" y="2171460"/>
            <a:ext cx="3842844" cy="2579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Python can tell you the data type by using </a:t>
            </a:r>
            <a:r>
              <a:rPr lang="en-US" sz="22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type() 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unction. Python refers integer number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int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float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loat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character or text as </a:t>
            </a:r>
            <a:r>
              <a:rPr lang="en-US" sz="22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tr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nd </a:t>
            </a:r>
            <a:r>
              <a:rPr lang="en-US" sz="2200" b="0" dirty="0" err="1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oolean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ool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en-US" sz="22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91</TotalTime>
  <Words>53</Words>
  <Application>Microsoft Office PowerPoint</Application>
  <PresentationFormat>Widescreen</PresentationFormat>
  <Paragraphs>6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Gotham Light</vt:lpstr>
      <vt:lpstr>Lato Light</vt:lpstr>
      <vt:lpstr>1_Office Theme</vt:lpstr>
      <vt:lpstr>2_Office Theme</vt:lpstr>
      <vt:lpstr>think-cell Slide</vt:lpstr>
      <vt:lpstr>Introduction to Programming in Python</vt:lpstr>
      <vt:lpstr>String Manipulation in Pyth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4</cp:revision>
  <dcterms:created xsi:type="dcterms:W3CDTF">2020-03-16T19:15:12Z</dcterms:created>
  <dcterms:modified xsi:type="dcterms:W3CDTF">2021-06-04T12:1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